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13"/>
  </p:notesMasterIdLst>
  <p:sldIdLst>
    <p:sldId id="269" r:id="rId2"/>
    <p:sldId id="297" r:id="rId3"/>
    <p:sldId id="266" r:id="rId4"/>
    <p:sldId id="412" r:id="rId5"/>
    <p:sldId id="414" r:id="rId6"/>
    <p:sldId id="415" r:id="rId7"/>
    <p:sldId id="416" r:id="rId8"/>
    <p:sldId id="424" r:id="rId9"/>
    <p:sldId id="425" r:id="rId10"/>
    <p:sldId id="423" r:id="rId11"/>
    <p:sldId id="426" r:id="rId12"/>
  </p:sldIdLst>
  <p:sldSz cx="9144000" cy="6858000" type="screen4x3"/>
  <p:notesSz cx="7104063" cy="10234613"/>
  <p:custDataLst>
    <p:tags r:id="rId1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138" autoAdjust="0"/>
    <p:restoredTop sz="96279" autoAdjust="0"/>
  </p:normalViewPr>
  <p:slideViewPr>
    <p:cSldViewPr snapToObjects="1">
      <p:cViewPr varScale="1">
        <p:scale>
          <a:sx n="107" d="100"/>
          <a:sy n="107" d="100"/>
        </p:scale>
        <p:origin x="1764" y="114"/>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25" d="100"/>
        <a:sy n="125" d="100"/>
      </p:scale>
      <p:origin x="0" y="0"/>
    </p:cViewPr>
  </p:sorterViewPr>
  <p:notesViewPr>
    <p:cSldViewPr snapToObjects="1">
      <p:cViewPr varScale="1">
        <p:scale>
          <a:sx n="76" d="100"/>
          <a:sy n="76" d="100"/>
        </p:scale>
        <p:origin x="4032"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5/3/2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029879"/>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495313"/>
          </a:xfrm>
        </p:spPr>
        <p:txBody>
          <a:bodyPr/>
          <a:lstStyle/>
          <a:p>
            <a:pPr indent="93349"/>
            <a:r>
              <a:rPr lang="ja-JP" altLang="en-US" dirty="0">
                <a:latin typeface="Meiryo UI" panose="020B0604030504040204" pitchFamily="50" charset="-128"/>
                <a:ea typeface="Meiryo UI" panose="020B0604030504040204" pitchFamily="50" charset="-128"/>
              </a:rPr>
              <a:t>みなさん、こんにちは。</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この講座は、スマートフォンを買われてから、まだあまり操作方法をよくご存じではない方を対象として、電話のかけ方のご説明をします。</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よろしくお願いいたします。</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まず講座を始める前に皆様がお持ちのスマートフォンの裏側を見てください。</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リンゴのマークがスマートフォンについていますか？</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もしついていなければ、それは</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の</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はなく</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です。</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今回の講座は</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をお持ちの方を対象としています。</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defRPr/>
            </a:pPr>
            <a:r>
              <a:rPr lang="ja-JP" altLang="en-US" dirty="0">
                <a:cs typeface="Microsoft New Tai Lue" panose="020B0502040204020203" pitchFamily="34" charset="0"/>
              </a:rPr>
              <a:t>今回は</a:t>
            </a:r>
            <a:r>
              <a:rPr lang="ja-JP" altLang="en-US" dirty="0"/>
              <a:t>残念ながらあまり参考にならないかもしれないことを予めご承知おき願い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4972441"/>
          </a:xfrm>
        </p:spPr>
        <p:txBody>
          <a:bodyPr/>
          <a:lstStyle/>
          <a:p>
            <a:pPr indent="96146"/>
            <a:r>
              <a:rPr lang="ja-JP" altLang="en-US" dirty="0">
                <a:latin typeface="Meiryo UI" panose="020B0604030504040204" pitchFamily="50" charset="-128"/>
                <a:ea typeface="Meiryo UI" panose="020B0604030504040204" pitchFamily="50" charset="-128"/>
              </a:rPr>
              <a:t>それではこれから「連絡先」の登録の仕方を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まず「連絡先」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連絡先の名前一覧表示画面の右上に②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プラス</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が表示されますのでこちらを</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ような登録画面が表示されたら名前や電話番号を入力し、③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完了</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ボタンを押せば登録が完了し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連絡先を登録する際に、全ての情報を入力しなくても登録することは可能です。」と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8800285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pPr indent="96146"/>
            <a:r>
              <a:rPr lang="ja-JP" altLang="en-US" dirty="0">
                <a:latin typeface="Meiryo UI" panose="020B0604030504040204" pitchFamily="50" charset="-128"/>
                <a:ea typeface="Meiryo UI" panose="020B0604030504040204" pitchFamily="50" charset="-128"/>
              </a:rPr>
              <a:t>今までにかかって来た履歴を使って登録する方法です。これが一番手軽な登録方法に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ホーム画面から①の「受話器」マーク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画面で②の着信履歴をタップし、着信履歴が出てきたら③のように登録したい番号の右横にあるⓘのマークを</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すると「新規連絡先を作成」という項目が表示されますので④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新規連絡先</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いう画面が表示されますので、必要項目を入力し⑤「完了</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a:t>
            </a:r>
            <a:r>
              <a:rPr lang="ja-JP" altLang="en-US" dirty="0"/>
              <a:t>押す</a:t>
            </a:r>
            <a:r>
              <a:rPr lang="ja-JP" altLang="en-US" dirty="0">
                <a:latin typeface="Meiryo UI" panose="020B0604030504040204" pitchFamily="50" charset="-128"/>
                <a:ea typeface="Meiryo UI" panose="020B0604030504040204" pitchFamily="50" charset="-128"/>
              </a:rPr>
              <a:t>と連絡先に登録すること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のかけ方についての説明は以上です。</a:t>
            </a: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③の手順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新規連絡先の作成</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表示が出なければその電話番号の方は既に登録済みです。」とご説明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よくあるケースなのでご認識をお願いします。</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1417686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電話のかけ方について学び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お持ちの機種によってソフトのアプリ、ハードウェア機器の性能等の機種の中身が異なっている場合もあ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のため説明する内容とお持ちの機種とで画面の表示や動作が若干異なることもあると思いますが、ご容赦ください。</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r>
              <a:rPr lang="ja-JP" altLang="en-US" dirty="0">
                <a:latin typeface="Meiryo UI" panose="020B0604030504040204" pitchFamily="50" charset="-128"/>
                <a:ea typeface="Meiryo UI" panose="020B0604030504040204" pitchFamily="50" charset="-128"/>
              </a:rPr>
              <a:t>講師の皆様は、大まかな講座内容を冒頭に提示し、目的を明確化させま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defTabSz="954820">
              <a:defRPr/>
            </a:pP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はすべて</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が製造しているものですが、機種によってソフトのアプリ、ハードウェア機器</a:t>
            </a:r>
            <a:r>
              <a:rPr lang="ja-JP" altLang="en-US">
                <a:latin typeface="Meiryo UI" panose="020B0604030504040204" pitchFamily="50" charset="-128"/>
                <a:ea typeface="Meiryo UI" panose="020B0604030504040204" pitchFamily="50" charset="-128"/>
              </a:rPr>
              <a:t>の性能が異なって</a:t>
            </a:r>
            <a:r>
              <a:rPr lang="ja-JP" altLang="en-US" dirty="0">
                <a:latin typeface="Meiryo UI" panose="020B0604030504040204" pitchFamily="50" charset="-128"/>
                <a:ea typeface="Meiryo UI" panose="020B0604030504040204" pitchFamily="50" charset="-128"/>
              </a:rPr>
              <a:t>おりますので、説明する内容とお持ちの</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画面の表示や動作が若干異なることがあると思いますが、ご容赦ください。</a:t>
            </a:r>
            <a:endParaRPr lang="en-US" altLang="ja-JP" dirty="0">
              <a:latin typeface="Meiryo UI" panose="020B0604030504040204" pitchFamily="50" charset="-128"/>
              <a:ea typeface="Meiryo UI" panose="020B0604030504040204" pitchFamily="50" charset="-128"/>
            </a:endParaRPr>
          </a:p>
          <a:p>
            <a:endParaRPr kumimoji="1"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96146"/>
            <a:r>
              <a:rPr lang="ja-JP" altLang="en-US" dirty="0">
                <a:latin typeface="Meiryo UI" panose="020B0604030504040204" pitchFamily="50" charset="-128"/>
                <a:ea typeface="Meiryo UI" panose="020B0604030504040204" pitchFamily="50" charset="-128"/>
              </a:rPr>
              <a:t>それではまず最初に①のような画面から緑色の受話器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アイコ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見つけて</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アイコンとは、教材では赤枠で囲ってある四角い図柄のことを指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のような画面になりましたら、下の右から</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番目にある点がまとまっている図柄が表示されている「キーパッド」を見つけて押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次は固定電話のように画面上の数字盤を使用してかけたい電話番号を入力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入れ終わったら④の緑色の受話器マークを</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がかからない場合、電波が届いていない可能性がありますので、念のため画面の左上をチェックしてください。</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スマートフォンであっても、他の携帯電話と同じように市外局番から入力する必要があります。」と、念のためご説明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アイコン」といったカタカナ言葉を聞いて意欲が薄まってしまうことがよくありますので、</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座中は日本語に置き換えて話したり、実演も踏まえながら丁寧にご説明ください。</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前の項目の④のボタンを押すと⑤のような「発信中」の表示が出て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がつながると、「発信中」から接続している時間表示になり、通話が可能と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⑥電話を切る時は下にある赤色の受話器マークを押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の切り忘れにご注意ください。通話料金が高くなる可能性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を切る時、⑥の赤い受話器のマークを押さずに、「ホームボタン」を押すと、通話画面が見えなくなり、通話が終了したように見えますが、実際には通話状態は継続し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相手も切らないと通話は終了していない状態となるので、あとから高額な通話料金を請求されることもありますので、必ず電話は⑥のマークを</a:t>
            </a:r>
            <a:r>
              <a:rPr lang="ja-JP" altLang="en-US" dirty="0"/>
              <a:t>押</a:t>
            </a:r>
            <a:r>
              <a:rPr lang="ja-JP" altLang="en-US" dirty="0">
                <a:latin typeface="Meiryo UI" panose="020B0604030504040204" pitchFamily="50" charset="-128"/>
                <a:ea typeface="Meiryo UI" panose="020B0604030504040204" pitchFamily="50" charset="-128"/>
              </a:rPr>
              <a:t>して切りましょう。</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必要に応じて、「スピーカーモードを利用すると、音声がスピーカーから発せられますので、スマートフォンを耳にあてなくても通話ができます」とご説明ください。</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83364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次は今までかかって来た着信履歴を使って電話をかけるやり方を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前と同じように①の緑色の受話器マークを</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に②の「履歴」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ようにリストで表示されている中からかけたい人の名前を</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後の操作は前のページでご説明した手順と同じとなり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着信履歴を使った方法は便利ですが、慣れていない方は目的の箇所とは違う場所を</a:t>
            </a:r>
            <a:r>
              <a:rPr lang="ja-JP" altLang="en-US" dirty="0"/>
              <a:t>押し</a:t>
            </a:r>
            <a:r>
              <a:rPr lang="ja-JP" altLang="en-US" dirty="0">
                <a:latin typeface="Meiryo UI" panose="020B0604030504040204" pitchFamily="50" charset="-128"/>
                <a:ea typeface="Meiryo UI" panose="020B0604030504040204" pitchFamily="50" charset="-128"/>
              </a:rPr>
              <a:t>て、間違えて他の人にかけてしまう可能性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気をつけてボタンを</a:t>
            </a:r>
            <a:r>
              <a:rPr lang="ja-JP" altLang="en-US" dirty="0"/>
              <a:t>押し</a:t>
            </a:r>
            <a:r>
              <a:rPr lang="ja-JP" altLang="en-US" dirty="0">
                <a:latin typeface="Meiryo UI" panose="020B0604030504040204" pitchFamily="50" charset="-128"/>
                <a:ea typeface="Meiryo UI" panose="020B0604030504040204" pitchFamily="50" charset="-128"/>
              </a:rPr>
              <a:t>てください。」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今度は電話帳からの電話のかけ方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電話機能を起動したら「連絡先」を</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登録してある名前の一覧が表示されますので、かけたい相手の名前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ような画面が表示されますの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発信</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a:t>
            </a:r>
            <a:r>
              <a:rPr lang="ja-JP" altLang="en-US" dirty="0"/>
              <a:t>押せ</a:t>
            </a:r>
            <a:r>
              <a:rPr lang="ja-JP" altLang="en-US" dirty="0">
                <a:latin typeface="Meiryo UI" panose="020B0604030504040204" pitchFamily="50" charset="-128"/>
                <a:ea typeface="Meiryo UI" panose="020B0604030504040204" pitchFamily="50" charset="-128"/>
              </a:rPr>
              <a:t>ば電話をかける事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連絡先に登録されていない相手にはこの手順ではかけられませんので、この後ご説明する電話帳への登録方法をお試し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692542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96146"/>
            <a:r>
              <a:rPr lang="ja-JP" altLang="en-US" dirty="0">
                <a:latin typeface="Meiryo UI" panose="020B0604030504040204" pitchFamily="50" charset="-128"/>
                <a:ea typeface="Meiryo UI" panose="020B0604030504040204" pitchFamily="50" charset="-128"/>
              </a:rPr>
              <a:t>電話の受け方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もしスマートフォンを使用中に電話がかかってきた時は①のように画面の上部に電話がかかってきた表示が出ますので、緑色の受話器マークを</a:t>
            </a:r>
            <a:r>
              <a:rPr lang="ja-JP" altLang="en-US" dirty="0"/>
              <a:t>押し</a:t>
            </a:r>
            <a:r>
              <a:rPr lang="ja-JP" altLang="en-US" dirty="0">
                <a:latin typeface="Meiryo UI" panose="020B0604030504040204" pitchFamily="50" charset="-128"/>
                <a:ea typeface="Meiryo UI" panose="020B0604030504040204" pitchFamily="50" charset="-128"/>
              </a:rPr>
              <a:t>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スマートフォンを使っていない状態で電話がかかってきた場合は真ん中の画像のような画面になるので②のように受話器マークを左から右側にスライド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もし出ることができない時には③のように吹き出しマークの「メッセージを送信」を</a:t>
            </a:r>
            <a:r>
              <a:rPr lang="ja-JP" altLang="en-US" dirty="0"/>
              <a:t>押</a:t>
            </a:r>
            <a:r>
              <a:rPr lang="ja-JP" altLang="en-US" dirty="0">
                <a:latin typeface="Meiryo UI" panose="020B0604030504040204" pitchFamily="50" charset="-128"/>
                <a:ea typeface="Meiryo UI" panose="020B0604030504040204" pitchFamily="50" charset="-128"/>
              </a:rPr>
              <a:t>し、メッセージを選択して相手側にショートメールを送ることも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に出たくない時は電源ボタンを２回押せば電話を切ることができます。</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6941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次に、不在着信の相手にかけなおす方法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ホーム画面から①の電話マークを</a:t>
            </a:r>
            <a:r>
              <a:rPr lang="ja-JP" altLang="en-US" dirty="0"/>
              <a:t>押</a:t>
            </a:r>
            <a:r>
              <a:rPr lang="ja-JP" altLang="en-US" dirty="0">
                <a:latin typeface="Meiryo UI" panose="020B0604030504040204" pitchFamily="50" charset="-128"/>
                <a:ea typeface="Meiryo UI" panose="020B0604030504040204" pitchFamily="50" charset="-128"/>
              </a:rPr>
              <a:t>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画面で②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履歴</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画面の上に表示された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不在着信</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着信履歴が出てきたら④のようにかけなおしたい人の名前</a:t>
            </a:r>
            <a:r>
              <a:rPr lang="ja-JP" altLang="en-US" dirty="0"/>
              <a:t>を押す</a:t>
            </a:r>
            <a:r>
              <a:rPr lang="ja-JP" altLang="en-US" dirty="0">
                <a:latin typeface="Meiryo UI" panose="020B0604030504040204" pitchFamily="50" charset="-128"/>
                <a:ea typeface="Meiryo UI" panose="020B0604030504040204" pitchFamily="50" charset="-128"/>
              </a:rPr>
              <a:t>と電話をかけなおすことができ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7007272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8" userDrawn="1">
          <p15:clr>
            <a:srgbClr val="FBAE40"/>
          </p15:clr>
        </p15:guide>
        <p15:guide id="24" pos="4353" userDrawn="1">
          <p15:clr>
            <a:srgbClr val="FBAE40"/>
          </p15:clr>
        </p15:guide>
        <p15:guide id="25" pos="2290" userDrawn="1">
          <p15:clr>
            <a:srgbClr val="FBAE40"/>
          </p15:clr>
        </p15:guide>
        <p15:guide id="26" pos="612" userDrawn="1">
          <p15:clr>
            <a:srgbClr val="FBAE40"/>
          </p15:clr>
        </p15:guide>
        <p15:guide id="27" pos="3107" userDrawn="1">
          <p15:clr>
            <a:srgbClr val="FBAE40"/>
          </p15:clr>
        </p15:guide>
        <p15:guide id="28" pos="4130" userDrawn="1">
          <p15:clr>
            <a:srgbClr val="FBAE40"/>
          </p15:clr>
        </p15:guide>
        <p15:guide id="29" pos="1630" userDrawn="1">
          <p15:clr>
            <a:srgbClr val="FBAE40"/>
          </p15:clr>
        </p15:guide>
        <p15:guide id="30" pos="3899" userDrawn="1">
          <p15:clr>
            <a:srgbClr val="FBAE40"/>
          </p15:clr>
        </p15:guide>
        <p15:guide id="31" pos="401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9983971-F5B7-B0EF-14B7-1D2253CBDCD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665D8AD-AADC-E734-B7A3-8F82422D2E1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578759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60543E89-3BE1-0B9D-8720-F1B49D1A1A4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450597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DB11CB4-8255-8E5E-8754-F9C40A40AD9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C8C7223-7F09-C23D-6CB3-DA3132BA191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図 41">
            <a:extLst>
              <a:ext uri="{FF2B5EF4-FFF2-40B4-BE49-F238E27FC236}">
                <a16:creationId xmlns:a16="http://schemas.microsoft.com/office/drawing/2014/main" id="{C20302E4-9DB2-747D-5EB9-C732D61686C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49B28294-D292-71E6-DB3C-03384CA4E38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F260613E-56A9-B4BC-B0A0-89975457A86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082D5AE3-2450-ED27-777D-9DAC26B4059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558925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26837AFA-13B6-AAB7-F98C-DF456AF80D3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06425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14C1AFD7-9A18-F7FC-19CB-77CB8154B51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19998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410</Words>
  <Application>Microsoft Office PowerPoint</Application>
  <PresentationFormat>画面に合わせる (4:3)</PresentationFormat>
  <Paragraphs>145</Paragraphs>
  <Slides>11</Slides>
  <Notes>11</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11</vt:i4>
      </vt:variant>
    </vt:vector>
  </HeadingPairs>
  <TitlesOfParts>
    <vt:vector size="20" baseType="lpstr">
      <vt:lpstr>Meiryo UI</vt:lpstr>
      <vt:lpstr>Meiryo</vt:lpstr>
      <vt:lpstr>Yu Gothic</vt:lpstr>
      <vt:lpstr>Arial</vt:lpstr>
      <vt:lpstr>Calibri</vt:lpstr>
      <vt:lpstr>Calibri Light</vt:lpstr>
      <vt:lpstr>Microsoft New Tai Lue</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5:02:29Z</dcterms:created>
  <dcterms:modified xsi:type="dcterms:W3CDTF">2025-03-27T05:02:45Z</dcterms:modified>
</cp:coreProperties>
</file>